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6" autoAdjust="0"/>
    <p:restoredTop sz="96405"/>
  </p:normalViewPr>
  <p:slideViewPr>
    <p:cSldViewPr snapToGrid="0" showGuides="1">
      <p:cViewPr varScale="1">
        <p:scale>
          <a:sx n="87" d="100"/>
          <a:sy n="87" d="100"/>
        </p:scale>
        <p:origin x="528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6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ÆNGSEL EFTER GUD – SALME 42 VERS 1-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>
              <a:spcBef>
                <a:spcPts val="400"/>
              </a:spcBef>
            </a:pPr>
            <a:r>
              <a:rPr lang="da-DK" sz="1200" dirty="0"/>
              <a:t>Salmisten oplever at have mistet kontakten med Gud – det er som tørke, tomhed, sorg og død.</a:t>
            </a:r>
          </a:p>
          <a:p>
            <a:pPr>
              <a:spcBef>
                <a:spcPts val="400"/>
              </a:spcBef>
            </a:pPr>
            <a:r>
              <a:rPr lang="da-DK" dirty="0"/>
              <a:t>Det er en tilstand mange kristne oplever i livet.</a:t>
            </a:r>
          </a:p>
          <a:p>
            <a:pPr>
              <a:spcBef>
                <a:spcPts val="400"/>
              </a:spcBef>
            </a:pPr>
            <a:r>
              <a:rPr lang="da-DK" sz="1200" dirty="0"/>
              <a:t>Den kan skyldes mange forhold – ofte forbundet med ydre pres, sygdom og stress.</a:t>
            </a:r>
          </a:p>
          <a:p>
            <a:pPr>
              <a:spcBef>
                <a:spcPts val="400"/>
              </a:spcBef>
            </a:pPr>
            <a:r>
              <a:rPr lang="da-DK" dirty="0"/>
              <a:t>Salmen er en klagesang, hvor salmisten udøser sin fortvivlelse til Gud – hvornår redder du mig?</a:t>
            </a:r>
          </a:p>
          <a:p>
            <a:pPr>
              <a:spcBef>
                <a:spcPts val="400"/>
              </a:spcBef>
            </a:pPr>
            <a:r>
              <a:rPr lang="da-DK" sz="1200" dirty="0"/>
              <a:t>Men i vers 6 afløses hvornår af hvorfor. Salmisten mindes Guds nåde og frels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a-DK" dirty="0"/>
              <a:t>Salme 42 vers 2</a:t>
            </a:r>
          </a:p>
          <a:p>
            <a:pPr lvl="0"/>
            <a:r>
              <a:rPr lang="da-DK" dirty="0"/>
              <a:t>Som hjorten skriger ved det udtørrede vandløb, sådan skriger min sjæl efter dig, Gud.</a:t>
            </a:r>
          </a:p>
          <a:p>
            <a:endParaRPr lang="da-DK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400"/>
              </a:spcBef>
            </a:pPr>
            <a:r>
              <a:rPr lang="da-DK" dirty="0"/>
              <a:t>Kun i Jesus Kristus den opstandne er der frelse lys og lægedom.</a:t>
            </a:r>
          </a:p>
          <a:p>
            <a:pPr>
              <a:spcBef>
                <a:spcPts val="400"/>
              </a:spcBef>
            </a:pPr>
            <a:r>
              <a:rPr lang="da-DK" dirty="0"/>
              <a:t>Kun i Jesus Kristur er der levende vand til den tørstend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r>
              <a:rPr lang="da-DK" sz="1200" dirty="0"/>
              <a:t>Har du oplevet at føle fravær af Gud?</a:t>
            </a:r>
          </a:p>
          <a:p>
            <a:r>
              <a:rPr lang="da-DK" dirty="0"/>
              <a:t>Hvorledes reagerer du i en sådan situation eller hvis du rådgiver en der oplever det?</a:t>
            </a:r>
          </a:p>
          <a:p>
            <a:r>
              <a:rPr lang="da-DK" sz="1200" dirty="0"/>
              <a:t>Kan du udøse din fortvivlelse til Gud?</a:t>
            </a:r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r>
              <a:rPr lang="da-DK" sz="1200" dirty="0"/>
              <a:t>Bed for de der lider i mørke med en følelse af Guds fravær</a:t>
            </a:r>
          </a:p>
          <a:p>
            <a:r>
              <a:rPr lang="da-DK" dirty="0"/>
              <a:t>Bed om lægedom </a:t>
            </a:r>
            <a:r>
              <a:rPr lang="da-DK"/>
              <a:t>og helbredelse fra Gud?</a:t>
            </a:r>
            <a:endParaRPr lang="da-DK" sz="12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643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Del alle tanker med Gud – både de sørgelige, de vrede, de glade og de taknemlige.</a:t>
            </a:r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9</TotalTime>
  <Words>207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LÆNGSEL EFTER GUD – SALME 42 VERS 1-6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Kristian Knudsen</cp:lastModifiedBy>
  <cp:revision>12</cp:revision>
  <dcterms:created xsi:type="dcterms:W3CDTF">2019-08-19T18:08:22Z</dcterms:created>
  <dcterms:modified xsi:type="dcterms:W3CDTF">2020-06-11T16:1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